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2"/>
  </p:notesMasterIdLst>
  <p:sldIdLst>
    <p:sldId id="284" r:id="rId2"/>
    <p:sldId id="298" r:id="rId3"/>
    <p:sldId id="297" r:id="rId4"/>
    <p:sldId id="314" r:id="rId5"/>
    <p:sldId id="296" r:id="rId6"/>
    <p:sldId id="299" r:id="rId7"/>
    <p:sldId id="310" r:id="rId8"/>
    <p:sldId id="300" r:id="rId9"/>
    <p:sldId id="312" r:id="rId10"/>
    <p:sldId id="31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DDCFA"/>
    <a:srgbClr val="B4A983"/>
    <a:srgbClr val="8E8566"/>
    <a:srgbClr val="FAFAFA"/>
    <a:srgbClr val="F7F7F7"/>
    <a:srgbClr val="F9F9F9"/>
    <a:srgbClr val="F2F2F2"/>
    <a:srgbClr val="EEEEEE"/>
    <a:srgbClr val="EAEAEA"/>
    <a:srgbClr val="FFF27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403"/>
    <p:restoredTop sz="99068" autoAdjust="0"/>
  </p:normalViewPr>
  <p:slideViewPr>
    <p:cSldViewPr snapToGrid="0" snapToObjects="1">
      <p:cViewPr>
        <p:scale>
          <a:sx n="77" d="100"/>
          <a:sy n="77" d="100"/>
        </p:scale>
        <p:origin x="-2820" y="-9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3.8.20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Už jste unavení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299032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355652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útok na občany s příjmem mezi 50 </a:t>
            </a:r>
            <a:r>
              <a:rPr lang="mr-IN" baseline="0" dirty="0" smtClean="0"/>
              <a:t>–</a:t>
            </a:r>
            <a:r>
              <a:rPr lang="cs-CZ" baseline="0" dirty="0" smtClean="0"/>
              <a:t> 112 tis. korunami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35904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22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28430419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210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36563" y="2741387"/>
            <a:ext cx="1262819" cy="12628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591612" y="2699432"/>
            <a:ext cx="3742441" cy="1346728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3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318396" y="6165041"/>
            <a:ext cx="6491063" cy="39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 defTabSz="914338">
              <a:lnSpc>
                <a:spcPct val="110000"/>
              </a:lnSpc>
              <a:spcBef>
                <a:spcPct val="0"/>
              </a:spcBef>
              <a:defRPr/>
            </a:pP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ttps://www.pirati.cz/program/dlouhodoby/psychotropni-latky/</a:t>
            </a:r>
          </a:p>
        </p:txBody>
      </p:sp>
    </p:spTree>
    <p:extLst>
      <p:ext uri="{BB962C8B-B14F-4D97-AF65-F5344CB8AC3E}">
        <p14:creationId xmlns:p14="http://schemas.microsoft.com/office/powerpoint/2010/main" xmlns="" val="87644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506621"/>
            <a:ext cx="7886700" cy="525905"/>
          </a:xfrm>
        </p:spPr>
        <p:txBody>
          <a:bodyPr/>
          <a:lstStyle/>
          <a:p>
            <a:pPr algn="ctr"/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utoři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9" name="TextBox 8"/>
          <p:cNvSpPr txBox="1"/>
          <p:nvPr/>
        </p:nvSpPr>
        <p:spPr>
          <a:xfrm>
            <a:off x="6595834" y="3368973"/>
            <a:ext cx="14411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40315" y="4756077"/>
            <a:ext cx="134171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lchymie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irate Space Brno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96478" y="4005304"/>
            <a:ext cx="222336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andidá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č. 2 v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ihomoravském</a:t>
            </a:r>
            <a:endParaRPr lang="en-US" sz="1200" i="1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raji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for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ahrádkář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69998" y="3368973"/>
            <a:ext cx="131606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49191" y="4005304"/>
            <a:ext cx="214321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White hat hacker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ate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71758" y="4756077"/>
            <a:ext cx="170238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ogika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ická</a:t>
            </a:r>
            <a:r>
              <a:rPr lang="cs-CZ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fakulta UK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30116" y="3430758"/>
            <a:ext cx="14683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700878" y="4030018"/>
            <a:ext cx="17232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ktorand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nau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hao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brodinec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821974" y="4756077"/>
            <a:ext cx="14939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iotechnologie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iv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CHT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pic>
        <p:nvPicPr>
          <p:cNvPr id="15" name="Picture 14" descr="logysk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308" y="1256290"/>
            <a:ext cx="1927654" cy="12445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595308" y="2500876"/>
            <a:ext cx="19276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acov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kupi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tropní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átky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650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53668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10911"/>
            <a:ext cx="7886700" cy="52934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o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idí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?</a:t>
            </a:r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92083" y="2177562"/>
            <a:ext cx="34257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096454" y="211503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1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91917" y="2960751"/>
            <a:ext cx="34260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2096288" y="2922937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91917" y="3757906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erč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96288" y="3718482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3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8650" y="1606192"/>
            <a:ext cx="4385816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700" b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lavní cíle reformy:</a:t>
            </a:r>
            <a:endParaRPr lang="cs-CZ" sz="17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13" name="Rectangle 12"/>
          <p:cNvSpPr/>
          <p:nvPr/>
        </p:nvSpPr>
        <p:spPr>
          <a:xfrm>
            <a:off x="2996033" y="4552870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ávisl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>
          <a:xfrm>
            <a:off x="2100404" y="4513446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4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08390" y="5343718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mez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stupu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ládeži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2112761" y="530429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5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677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628651" y="1775379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3817720" y="1639146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nes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0" y="328056"/>
            <a:ext cx="7886700" cy="1006473"/>
          </a:xfrm>
        </p:spPr>
        <p:txBody>
          <a:bodyPr>
            <a:noAutofit/>
          </a:bodyPr>
          <a:lstStyle/>
          <a:p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dostupné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ý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oučasná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tuace</a:t>
            </a:r>
            <a:endParaRPr lang="en-US" sz="28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Content Placeholder 18"/>
          <p:cNvSpPr>
            <a:spLocks noGrp="1"/>
          </p:cNvSpPr>
          <p:nvPr>
            <p:ph sz="half" idx="1"/>
          </p:nvPr>
        </p:nvSpPr>
        <p:spPr>
          <a:xfrm>
            <a:off x="628651" y="2347783"/>
            <a:ext cx="3886200" cy="3829179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ve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mys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h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áza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prost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endParaRPr lang="en-US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ů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tup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ace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k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legální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amo-pěstování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rné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1" name="Content Placeholder 20"/>
          <p:cNvSpPr>
            <a:spLocks noGrp="1"/>
          </p:cNvSpPr>
          <p:nvPr>
            <p:ph sz="half" idx="2"/>
          </p:nvPr>
        </p:nvSpPr>
        <p:spPr>
          <a:xfrm>
            <a:off x="4629151" y="2347783"/>
            <a:ext cx="3886200" cy="3829180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ča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R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a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ž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nak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tř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tí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rojevi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znamnějš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oxick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lastnost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(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rozdíl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řeb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d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lkoho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ito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o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vně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ucen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a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právně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říd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é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-47942" y="6319282"/>
            <a:ext cx="3086100" cy="365125"/>
          </a:xfrm>
        </p:spPr>
        <p:txBody>
          <a:bodyPr/>
          <a:lstStyle/>
          <a:p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sz="105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32093" y="6331639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z="1050" smtClean="0"/>
              <a:pPr/>
              <a:t>3</a:t>
            </a:fld>
            <a:endParaRPr lang="cs-CZ" sz="1050" dirty="0"/>
          </a:p>
        </p:txBody>
      </p:sp>
    </p:spTree>
    <p:extLst>
      <p:ext uri="{BB962C8B-B14F-4D97-AF65-F5344CB8AC3E}">
        <p14:creationId xmlns:p14="http://schemas.microsoft.com/office/powerpoint/2010/main" xmlns="" val="14172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50463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dstav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628651" y="1489589"/>
            <a:ext cx="7613306" cy="4651519"/>
          </a:xfrm>
        </p:spPr>
        <p:txBody>
          <a:bodyPr/>
          <a:lstStyle/>
          <a:p>
            <a:pPr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liš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krét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iagnóz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skrimin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jsm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chopn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soudi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d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č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t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číná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otný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limit pro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echny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obod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olb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vním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ístě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arší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18 let</a:t>
            </a:r>
          </a:p>
          <a:p>
            <a:pPr lvl="1"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rž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x. 10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ležitos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ová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av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uni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ř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oh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chtějí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/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4</a:t>
            </a:fld>
            <a:endParaRPr lang="cs-CZ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25911" y="5372995"/>
            <a:ext cx="662923" cy="66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923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9204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89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44285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460364" y="1970529"/>
            <a:ext cx="2217600" cy="3599658"/>
            <a:chOff x="3461401" y="1970529"/>
            <a:chExt cx="2217600" cy="3599658"/>
          </a:xfrm>
        </p:grpSpPr>
        <p:sp>
          <p:nvSpPr>
            <p:cNvPr id="39" name="Rectangle 38"/>
            <p:cNvSpPr/>
            <p:nvPr/>
          </p:nvSpPr>
          <p:spPr>
            <a:xfrm>
              <a:off x="3461401" y="2347368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6201" y="2627608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mahatelný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ákaz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ladistvým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526201" y="3314645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níže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isk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rogový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afií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6201" y="3787894"/>
              <a:ext cx="2088000" cy="146358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lici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bud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use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naklád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as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n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ro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rzekuc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amopěsti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kreač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uživa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páchajíc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žádnou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kutečně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gativ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innost</a:t>
              </a:r>
              <a:endParaRPr lang="cs-CZ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461401" y="1970529"/>
              <a:ext cx="2217600" cy="43062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8650" y="1970096"/>
            <a:ext cx="2217600" cy="2723665"/>
            <a:chOff x="628651" y="1970096"/>
            <a:chExt cx="2217600" cy="2723665"/>
          </a:xfrm>
        </p:grpSpPr>
        <p:sp>
          <p:nvSpPr>
            <p:cNvPr id="47" name="Rectangle 46"/>
            <p:cNvSpPr/>
            <p:nvPr/>
          </p:nvSpPr>
          <p:spPr>
            <a:xfrm>
              <a:off x="628651" y="2343650"/>
              <a:ext cx="2217600" cy="21961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3451" y="2710388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tenciálně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ž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3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iliardy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č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a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93451" y="3224427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ová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acov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ísta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93451" y="3787894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investov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do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dfinancovan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imár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93451" y="401772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3451" y="4509095"/>
              <a:ext cx="2088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8651" y="1970096"/>
              <a:ext cx="2217600" cy="4057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řines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6292078" y="1970096"/>
            <a:ext cx="2223273" cy="3628834"/>
            <a:chOff x="6159313" y="1944745"/>
            <a:chExt cx="2223273" cy="3628834"/>
          </a:xfrm>
        </p:grpSpPr>
        <p:sp>
          <p:nvSpPr>
            <p:cNvPr id="22" name="Rectangle 21"/>
            <p:cNvSpPr/>
            <p:nvPr/>
          </p:nvSpPr>
          <p:spPr>
            <a:xfrm>
              <a:off x="6161386" y="2350760"/>
              <a:ext cx="22212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26291" y="2636574"/>
              <a:ext cx="2091390" cy="70114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níz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upi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závad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ukt</a:t>
              </a:r>
              <a:endParaRPr lang="cs-CZ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59313" y="1944745"/>
              <a:ext cx="2221200" cy="43106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ozšíře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obod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ospělých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bčanů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ČR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6359056" y="3566433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stupnost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třebné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ěkteré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agnóz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dikováno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bude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359056" y="4550331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fektiv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lementár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klad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chran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třebitele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ivilizovaném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větě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834169" y="1521294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 reformě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44613" y="1374094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6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83425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7950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" name="Straight Connector 68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317140" y="4917989"/>
            <a:ext cx="1426060" cy="140250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</a:t>
            </a:r>
            <a:b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10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23268"/>
            <a:ext cx="7886701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ysté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volují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ů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er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sobní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ferenc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40163" y="5177511"/>
            <a:ext cx="1170686" cy="114790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758506" y="3357000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1001218" y="3876981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zument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8" name="Freeform 9"/>
          <p:cNvSpPr>
            <a:spLocks/>
          </p:cNvSpPr>
          <p:nvPr/>
        </p:nvSpPr>
        <p:spPr bwMode="auto">
          <a:xfrm>
            <a:off x="7168014" y="3342140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7" name="Rectangle 36"/>
          <p:cNvSpPr/>
          <p:nvPr/>
        </p:nvSpPr>
        <p:spPr>
          <a:xfrm>
            <a:off x="6544146" y="3881408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itel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834859" y="1515576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 reformě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45303" y="1368376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95782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18" name="TextBox 17"/>
          <p:cNvSpPr txBox="1"/>
          <p:nvPr/>
        </p:nvSpPr>
        <p:spPr>
          <a:xfrm>
            <a:off x="3933419" y="2115850"/>
            <a:ext cx="1246599" cy="1246599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ír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728427" y="4442763"/>
            <a:ext cx="1674017" cy="167401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oobchod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na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77267" y="3073148"/>
            <a:ext cx="1455628" cy="136527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nik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bu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ých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uktů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51" name="Straight Arrow Connector 50"/>
          <p:cNvCxnSpPr>
            <a:stCxn id="18" idx="4"/>
            <a:endCxn id="23" idx="0"/>
          </p:cNvCxnSpPr>
          <p:nvPr/>
        </p:nvCxnSpPr>
        <p:spPr>
          <a:xfrm rot="16200000" flipH="1">
            <a:off x="4020920" y="3898247"/>
            <a:ext cx="1080314" cy="87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23" idx="2"/>
            <a:endCxn id="43" idx="6"/>
          </p:cNvCxnSpPr>
          <p:nvPr/>
        </p:nvCxnSpPr>
        <p:spPr>
          <a:xfrm rot="10800000" flipV="1">
            <a:off x="2743201" y="5279771"/>
            <a:ext cx="985227" cy="3394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24" idx="5"/>
            <a:endCxn id="23" idx="1"/>
          </p:cNvCxnSpPr>
          <p:nvPr/>
        </p:nvCxnSpPr>
        <p:spPr>
          <a:xfrm rot="16200000" flipH="1">
            <a:off x="3471935" y="4186270"/>
            <a:ext cx="449435" cy="5538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18" idx="3"/>
            <a:endCxn id="24" idx="6"/>
          </p:cNvCxnSpPr>
          <p:nvPr/>
        </p:nvCxnSpPr>
        <p:spPr>
          <a:xfrm rot="5400000">
            <a:off x="3586489" y="3226295"/>
            <a:ext cx="575896" cy="483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668496" y="1783101"/>
            <a:ext cx="1420706" cy="1018194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ertifikovan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alytick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boratoř</a:t>
            </a:r>
            <a:endParaRPr lang="cs-CZ" sz="12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72" name="Straight Arrow Connector 71"/>
          <p:cNvCxnSpPr>
            <a:stCxn id="70" idx="4"/>
            <a:endCxn id="24" idx="1"/>
          </p:cNvCxnSpPr>
          <p:nvPr/>
        </p:nvCxnSpPr>
        <p:spPr>
          <a:xfrm rot="16200000" flipH="1">
            <a:off x="2148748" y="3031396"/>
            <a:ext cx="471792" cy="115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70" idx="6"/>
            <a:endCxn id="18" idx="1"/>
          </p:cNvCxnSpPr>
          <p:nvPr/>
        </p:nvCxnSpPr>
        <p:spPr>
          <a:xfrm>
            <a:off x="3089202" y="2292198"/>
            <a:ext cx="1026777" cy="62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743200" y="2959454"/>
            <a:ext cx="1095998" cy="288919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869971" y="4591999"/>
            <a:ext cx="1095998" cy="2889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854445" y="2153950"/>
            <a:ext cx="1095998" cy="288919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796214" y="1804495"/>
            <a:ext cx="1915299" cy="487703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žii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nisterstva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emědělství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336706" y="2442869"/>
            <a:ext cx="853163" cy="51658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žii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cí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869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8310954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name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ís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azuj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í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čný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rend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6320496"/>
            <a:ext cx="4567817" cy="36512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16" name="Rectangle 15"/>
          <p:cNvSpPr/>
          <p:nvPr/>
        </p:nvSpPr>
        <p:spPr>
          <a:xfrm>
            <a:off x="1371588" y="5631021"/>
            <a:ext cx="6676602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>
              <a:spcAft>
                <a:spcPts val="3600"/>
              </a:spcAft>
            </a:pP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: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ázka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elace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ekriminalizací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ho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ě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ine;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: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elace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ůměrné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evalence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ujících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ech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příč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USA;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 Huber III, A., Newman, R. a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Fave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D.:  Cannabis Control and Crime: Medicinal Use, </a:t>
            </a:r>
            <a:r>
              <a:rPr lang="en-US" sz="11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epenalization</a:t>
            </a:r>
            <a:r>
              <a:rPr lang="en-US" sz="11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nd the War on Drugs (2016)</a:t>
            </a:r>
            <a:endParaRPr lang="cs-CZ" sz="1100" i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pic>
        <p:nvPicPr>
          <p:cNvPr id="7" name="Picture 6" descr="zrafik_kriminality_cesk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809" y="1466855"/>
            <a:ext cx="6952381" cy="41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532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imár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ven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hod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nvesti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ískan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ů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kumen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r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pal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</a:t>
            </a: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k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lán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aliza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rategi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dob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6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ž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8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d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lád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ordina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ýro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práv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av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ěcech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publi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o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5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onitorova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ředisk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visl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oučasn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á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RVKPP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nahu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řístup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blematic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icméně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d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vident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dostatek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nan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even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stor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měn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epšímu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78216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95408"/>
            <a:ext cx="7886700" cy="467320"/>
          </a:xfrm>
        </p:spPr>
        <p:txBody>
          <a:bodyPr/>
          <a:lstStyle/>
          <a:p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ky autorů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256957"/>
            <a:ext cx="7886700" cy="4698996"/>
          </a:xfrm>
        </p:spPr>
        <p:txBody>
          <a:bodyPr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íst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b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hodoval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o tom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a-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ů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nž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viden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ředstavuj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ád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ezpe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dirty="0" smtClean="0"/>
              <a:t>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vá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yke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zí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r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pa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hrani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elh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mplement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o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pa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My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naží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žaduj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i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brán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fi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porát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pre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tlivců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ku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vář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ává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liti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sychotropní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áte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ě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ycho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odnot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ji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ědeck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ože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kodliv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a n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ýtů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vr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ét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d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rmální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ivot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alš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tězstv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smysln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ar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národn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úmluvám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endParaRPr lang="cs-CZ" sz="16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76457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64</TotalTime>
  <Words>645</Words>
  <Application>Microsoft Macintosh PowerPoint</Application>
  <PresentationFormat>On-screen Show (4:3)</PresentationFormat>
  <Paragraphs>125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lide 1</vt:lpstr>
      <vt:lpstr>Chceme legalizovat konopí. Jak to vidíme?</vt:lpstr>
      <vt:lpstr>Nedostupné konopí a černý trh – současná situace</vt:lpstr>
      <vt:lpstr>Naše představa regulace samopěstování</vt:lpstr>
      <vt:lpstr>Chceme legalizovat a regulovat trh s konopím </vt:lpstr>
      <vt:lpstr>Systém dovolující uživatelům operovat legálně na základě osobních preferencí</vt:lpstr>
      <vt:lpstr>Legalizace konopí neznamená zvýšení kriminality ve společnosti – čísla ukazují spíše opačný trend</vt:lpstr>
      <vt:lpstr>Primární prevence – vhodná investice legalizací získaných zdrojů</vt:lpstr>
      <vt:lpstr>Výroky autorů reformy</vt:lpstr>
      <vt:lpstr>Autoři reformy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creator>Stepan Strebl</dc:creator>
  <cp:lastModifiedBy>Zadek</cp:lastModifiedBy>
  <cp:revision>483</cp:revision>
  <cp:lastPrinted>2017-06-16T18:27:17Z</cp:lastPrinted>
  <dcterms:created xsi:type="dcterms:W3CDTF">2016-12-03T14:01:11Z</dcterms:created>
  <dcterms:modified xsi:type="dcterms:W3CDTF">2017-08-03T15:20:03Z</dcterms:modified>
</cp:coreProperties>
</file>